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257" r:id="rId3"/>
    <p:sldId id="258" r:id="rId4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58" d="100"/>
          <a:sy n="58" d="100"/>
        </p:scale>
        <p:origin x="90" y="16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DDD4E45B-EE20-4F8A-B69D-5DEA4C7D2B57}" type="datetimeFigureOut">
              <a:rPr lang="de-DE" smtClean="0"/>
              <a:t>04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211291-5B11-4F91-8849-222610C2C925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flipV="1">
            <a:off x="8386842" y="5264106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0" y="-1"/>
            <a:ext cx="12192000" cy="4572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36687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895088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E45B-EE20-4F8A-B69D-5DEA4C7D2B57}" type="datetimeFigureOut">
              <a:rPr lang="de-DE" smtClean="0"/>
              <a:t>04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211291-5B11-4F91-8849-222610C2C92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78870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E45B-EE20-4F8A-B69D-5DEA4C7D2B57}" type="datetimeFigureOut">
              <a:rPr lang="de-DE" smtClean="0"/>
              <a:t>04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211291-5B11-4F91-8849-222610C2C925}" type="slidenum">
              <a:rPr lang="de-DE" smtClean="0"/>
              <a:t>‹Nr.›</a:t>
            </a:fld>
            <a:endParaRPr lang="de-DE"/>
          </a:p>
        </p:txBody>
      </p:sp>
      <p:cxnSp>
        <p:nvCxnSpPr>
          <p:cNvPr id="8" name="Straight Connector 7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89125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E45B-EE20-4F8A-B69D-5DEA4C7D2B57}" type="datetimeFigureOut">
              <a:rPr lang="de-DE" smtClean="0"/>
              <a:t>04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211291-5B11-4F91-8849-222610C2C92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81415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E45B-EE20-4F8A-B69D-5DEA4C7D2B57}" type="datetimeFigureOut">
              <a:rPr lang="de-DE" smtClean="0"/>
              <a:t>04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211291-5B11-4F91-8849-222610C2C925}" type="slidenum">
              <a:rPr lang="de-DE" smtClean="0"/>
              <a:t>‹Nr.›</a:t>
            </a:fld>
            <a:endParaRPr lang="de-DE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V="1">
            <a:off x="8386842" y="5264106"/>
            <a:ext cx="0" cy="91440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0" y="-1"/>
            <a:ext cx="12192000" cy="45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6217693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E45B-EE20-4F8A-B69D-5DEA4C7D2B57}" type="datetimeFigureOut">
              <a:rPr lang="de-DE" smtClean="0"/>
              <a:t>04.04.2018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211291-5B11-4F91-8849-222610C2C92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943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2">
                    <a:lumMod val="75000"/>
                  </a:schemeClr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E45B-EE20-4F8A-B69D-5DEA4C7D2B57}" type="datetimeFigureOut">
              <a:rPr lang="de-DE" smtClean="0"/>
              <a:t>04.04.2018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211291-5B11-4F91-8849-222610C2C92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3380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E45B-EE20-4F8A-B69D-5DEA4C7D2B57}" type="datetimeFigureOut">
              <a:rPr lang="de-DE" smtClean="0"/>
              <a:t>04.04.2018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211291-5B11-4F91-8849-222610C2C92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20606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E45B-EE20-4F8A-B69D-5DEA4C7D2B57}" type="datetimeFigureOut">
              <a:rPr lang="de-DE" smtClean="0"/>
              <a:t>04.04.2018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211291-5B11-4F91-8849-222610C2C92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97756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E45B-EE20-4F8A-B69D-5DEA4C7D2B57}" type="datetimeFigureOut">
              <a:rPr lang="de-DE" smtClean="0"/>
              <a:t>04.04.2018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211291-5B11-4F91-8849-222610C2C92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07510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2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E45B-EE20-4F8A-B69D-5DEA4C7D2B57}" type="datetimeFigureOut">
              <a:rPr lang="de-DE" smtClean="0"/>
              <a:t>04.04.2018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211291-5B11-4F91-8849-222610C2C925}" type="slidenum">
              <a:rPr lang="de-DE" smtClean="0"/>
              <a:t>‹Nr.›</a:t>
            </a:fld>
            <a:endParaRPr lang="de-DE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67169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DDD4E45B-EE20-4F8A-B69D-5DEA4C7D2B57}" type="datetimeFigureOut">
              <a:rPr lang="de-DE" smtClean="0"/>
              <a:t>04.04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E8211291-5B11-4F91-8849-222610C2C925}" type="slidenum">
              <a:rPr lang="de-DE" smtClean="0"/>
              <a:t>‹Nr.›</a:t>
            </a:fld>
            <a:endParaRPr lang="de-DE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7492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5" imgW="353" imgH="353" progId="TCLayout.ActiveDocument.1">
                  <p:embed/>
                </p:oleObj>
              </mc:Choice>
              <mc:Fallback>
                <p:oleObj name="think-cell Folie" r:id="rId15" imgW="353" imgH="35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804986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2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26925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 PN: </a:t>
            </a:r>
            <a:r>
              <a:rPr lang="de-DE" dirty="0" err="1" smtClean="0"/>
              <a:t>Ppp</a:t>
            </a:r>
            <a:r>
              <a:rPr lang="de-DE" dirty="0" smtClean="0"/>
              <a:t> - </a:t>
            </a:r>
            <a:r>
              <a:rPr lang="de-DE" dirty="0" err="1" smtClean="0"/>
              <a:t>Pen&amp;paper</a:t>
            </a:r>
            <a:r>
              <a:rPr lang="de-DE" dirty="0" smtClean="0"/>
              <a:t> </a:t>
            </a:r>
            <a:r>
              <a:rPr lang="de-DE" dirty="0" err="1" smtClean="0"/>
              <a:t>pal</a:t>
            </a:r>
            <a:r>
              <a:rPr lang="de-DE" dirty="0" smtClean="0"/>
              <a:t>	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392978" cy="1463040"/>
          </a:xfrm>
        </p:spPr>
        <p:txBody>
          <a:bodyPr/>
          <a:lstStyle/>
          <a:p>
            <a:r>
              <a:rPr lang="de-DE" dirty="0" smtClean="0"/>
              <a:t>Soziales Netzwerk für Brettspiele</a:t>
            </a:r>
          </a:p>
        </p:txBody>
      </p:sp>
    </p:spTree>
    <p:extLst>
      <p:ext uri="{BB962C8B-B14F-4D97-AF65-F5344CB8AC3E}">
        <p14:creationId xmlns:p14="http://schemas.microsoft.com/office/powerpoint/2010/main" val="489639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unktionalitä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sz="2800" dirty="0" smtClean="0"/>
              <a:t>- Bewertungssystem</a:t>
            </a:r>
          </a:p>
          <a:p>
            <a:r>
              <a:rPr lang="de-DE" sz="2800" dirty="0" smtClean="0"/>
              <a:t>- Umkreissuche</a:t>
            </a:r>
          </a:p>
          <a:p>
            <a:r>
              <a:rPr lang="de-DE" sz="2800" dirty="0" smtClean="0"/>
              <a:t>- Filter</a:t>
            </a:r>
          </a:p>
          <a:p>
            <a:r>
              <a:rPr lang="de-DE" sz="2800" dirty="0" smtClean="0"/>
              <a:t>- Tauschbörse</a:t>
            </a:r>
          </a:p>
          <a:p>
            <a:r>
              <a:rPr lang="de-DE" sz="2800" dirty="0" smtClean="0"/>
              <a:t>- Forum</a:t>
            </a:r>
          </a:p>
          <a:p>
            <a:r>
              <a:rPr lang="de-DE" sz="2800" dirty="0" smtClean="0"/>
              <a:t>- Terminkalender</a:t>
            </a:r>
          </a:p>
        </p:txBody>
      </p:sp>
    </p:spTree>
    <p:extLst>
      <p:ext uri="{BB962C8B-B14F-4D97-AF65-F5344CB8AC3E}">
        <p14:creationId xmlns:p14="http://schemas.microsoft.com/office/powerpoint/2010/main" val="16692694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ahmenbedingung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sz="2800" dirty="0" smtClean="0"/>
              <a:t>Kosten: ~ 150000 €</a:t>
            </a:r>
          </a:p>
          <a:p>
            <a:r>
              <a:rPr lang="de-DE" sz="2800" dirty="0" smtClean="0"/>
              <a:t>Zeitlicher Aufwand: ~ 100 Personentage</a:t>
            </a:r>
          </a:p>
          <a:p>
            <a:r>
              <a:rPr lang="de-DE" sz="2800" dirty="0" smtClean="0"/>
              <a:t>Zielgruppe: Alle Gesellschaftsspiel Spieler</a:t>
            </a:r>
          </a:p>
          <a:p>
            <a:endParaRPr lang="de-DE" sz="2800" dirty="0"/>
          </a:p>
          <a:p>
            <a:r>
              <a:rPr lang="de-DE" sz="2800" dirty="0" smtClean="0"/>
              <a:t>Einnahmen: Mikrotransaktionen &amp; Werbung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2588939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rgbClr val="2E2B21"/>
      </a:dk1>
      <a:lt1>
        <a:srgbClr val="FFFFFF"/>
      </a:lt1>
      <a:dk2>
        <a:srgbClr val="605B4F"/>
      </a:dk2>
      <a:lt2>
        <a:srgbClr val="D8D6BE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4825F1AF-8DBC-4E3D-9F3D-688338DA83F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0</TotalTime>
  <Words>46</Words>
  <Application>Microsoft Office PowerPoint</Application>
  <PresentationFormat>Breitbild</PresentationFormat>
  <Paragraphs>15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Tw Cen MT</vt:lpstr>
      <vt:lpstr>Tw Cen MT Condensed</vt:lpstr>
      <vt:lpstr>Wingdings 3</vt:lpstr>
      <vt:lpstr>Integral</vt:lpstr>
      <vt:lpstr>think-cell Folie</vt:lpstr>
      <vt:lpstr> PN: Ppp - Pen&amp;paper pal </vt:lpstr>
      <vt:lpstr>Funktionalität</vt:lpstr>
      <vt:lpstr>Rahmenbedingung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p - Pen&amp;paper pal</dc:title>
  <dc:creator>Windows-Benutzer</dc:creator>
  <cp:lastModifiedBy>Windows-Benutzer</cp:lastModifiedBy>
  <cp:revision>4</cp:revision>
  <dcterms:created xsi:type="dcterms:W3CDTF">2018-04-04T10:32:19Z</dcterms:created>
  <dcterms:modified xsi:type="dcterms:W3CDTF">2018-04-04T11:12:07Z</dcterms:modified>
</cp:coreProperties>
</file>